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444444"/>
    <a:srgbClr val="F6F6F6"/>
    <a:srgbClr val="E5E5E5"/>
    <a:srgbClr val="A8A8A8"/>
    <a:srgbClr val="8D8D8D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51:56.717" v="50" actId="554"/>
      <pc:docMkLst>
        <pc:docMk/>
      </pc:docMkLst>
      <pc:sldChg chg="modSp mod">
        <pc:chgData name="Weigel Stefan (PAR-EPS)" userId="fd3b2067-2981-4ad8-bf3a-d2e1004e4fa8" providerId="ADAL" clId="{6DC46216-0C43-43E9-842A-1C620F326D3C}" dt="2024-02-28T08:51:56.717" v="50" actId="554"/>
        <pc:sldMkLst>
          <pc:docMk/>
          <pc:sldMk cId="2543225151" sldId="405"/>
        </pc:sldMkLst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9</c:f>
              <c:strCache>
                <c:ptCount val="1"/>
                <c:pt idx="0">
                  <c:v>Markt Personenverkehr und Produktion Personenverkehr</c:v>
                </c:pt>
              </c:strCache>
            </c:strRef>
          </c:tx>
          <c:spPr>
            <a:solidFill>
              <a:srgbClr val="E5E5E5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10:$C$20</c:f>
              <c:numCache>
                <c:formatCode>#,##0.000</c:formatCode>
                <c:ptCount val="11"/>
                <c:pt idx="0">
                  <c:v>1.01587939776</c:v>
                </c:pt>
                <c:pt idx="1">
                  <c:v>0.84821249399999998</c:v>
                </c:pt>
                <c:pt idx="2">
                  <c:v>0.8283368277230001</c:v>
                </c:pt>
                <c:pt idx="3">
                  <c:v>0.57791295489000005</c:v>
                </c:pt>
                <c:pt idx="4">
                  <c:v>0.72153651090999993</c:v>
                </c:pt>
                <c:pt idx="5">
                  <c:v>0.75046792439999999</c:v>
                </c:pt>
                <c:pt idx="6">
                  <c:v>0.89454509217</c:v>
                </c:pt>
                <c:pt idx="7">
                  <c:v>1.1871844599050101</c:v>
                </c:pt>
                <c:pt idx="8">
                  <c:v>0.93675952575999999</c:v>
                </c:pt>
                <c:pt idx="9">
                  <c:v>0.80510579250657099</c:v>
                </c:pt>
                <c:pt idx="10">
                  <c:v>0.6811593537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9</c:f>
              <c:strCache>
                <c:ptCount val="1"/>
                <c:pt idx="0">
                  <c:v>Immobilien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10:$D$20</c:f>
              <c:numCache>
                <c:formatCode>#,##0.000</c:formatCode>
                <c:ptCount val="11"/>
                <c:pt idx="0">
                  <c:v>0.46944028363000001</c:v>
                </c:pt>
                <c:pt idx="1">
                  <c:v>0.45806077000000001</c:v>
                </c:pt>
                <c:pt idx="2">
                  <c:v>0.55061685219000001</c:v>
                </c:pt>
                <c:pt idx="3">
                  <c:v>0.55449757157000001</c:v>
                </c:pt>
                <c:pt idx="4">
                  <c:v>0.68340522972999995</c:v>
                </c:pt>
                <c:pt idx="5">
                  <c:v>0.61872345032999998</c:v>
                </c:pt>
                <c:pt idx="6">
                  <c:v>0.58587582732999999</c:v>
                </c:pt>
                <c:pt idx="7">
                  <c:v>0.46327612801000001</c:v>
                </c:pt>
                <c:pt idx="8">
                  <c:v>0.41223381136000004</c:v>
                </c:pt>
                <c:pt idx="9">
                  <c:v>0.50162527670000001</c:v>
                </c:pt>
                <c:pt idx="10">
                  <c:v>0.57835182270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9</c:f>
              <c:strCache>
                <c:ptCount val="1"/>
                <c:pt idx="0">
                  <c:v>Güterverkehr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10:$E$20</c:f>
              <c:numCache>
                <c:formatCode>#,##0.000</c:formatCode>
                <c:ptCount val="11"/>
                <c:pt idx="0">
                  <c:v>3.1454666549999996E-2</c:v>
                </c:pt>
                <c:pt idx="1">
                  <c:v>1.5886504370000002E-2</c:v>
                </c:pt>
                <c:pt idx="2">
                  <c:v>2.7714453720000001E-2</c:v>
                </c:pt>
                <c:pt idx="3">
                  <c:v>1.8395506739999998E-2</c:v>
                </c:pt>
                <c:pt idx="4">
                  <c:v>3.0482708840000001E-2</c:v>
                </c:pt>
                <c:pt idx="5">
                  <c:v>3.3709855660000003E-2</c:v>
                </c:pt>
                <c:pt idx="6">
                  <c:v>3.41360847E-2</c:v>
                </c:pt>
                <c:pt idx="7">
                  <c:v>3.7950270030480501E-2</c:v>
                </c:pt>
                <c:pt idx="8">
                  <c:v>3.1848191114242905E-2</c:v>
                </c:pt>
                <c:pt idx="9">
                  <c:v>1.7805723632602698E-2</c:v>
                </c:pt>
                <c:pt idx="10">
                  <c:v>2.36566677076502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9</c:f>
              <c:strCache>
                <c:ptCount val="1"/>
                <c:pt idx="0">
                  <c:v>Infrastruktur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10:$F$20</c:f>
              <c:numCache>
                <c:formatCode>#,##0.000</c:formatCode>
                <c:ptCount val="11"/>
                <c:pt idx="0">
                  <c:v>2.0058902696100001</c:v>
                </c:pt>
                <c:pt idx="1">
                  <c:v>2.0842433488999998</c:v>
                </c:pt>
                <c:pt idx="2">
                  <c:v>2.1402772349300001</c:v>
                </c:pt>
                <c:pt idx="3">
                  <c:v>5.7711939926399998</c:v>
                </c:pt>
                <c:pt idx="4">
                  <c:v>2.0749476292</c:v>
                </c:pt>
                <c:pt idx="5">
                  <c:v>2.1382653223300001</c:v>
                </c:pt>
                <c:pt idx="6">
                  <c:v>2.9930333324100005</c:v>
                </c:pt>
                <c:pt idx="7">
                  <c:v>3.6330772980699999</c:v>
                </c:pt>
                <c:pt idx="8">
                  <c:v>2.0585050420300002</c:v>
                </c:pt>
                <c:pt idx="9">
                  <c:v>3.0301850943600002</c:v>
                </c:pt>
                <c:pt idx="10">
                  <c:v>2.36938620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9</c:f>
              <c:strCache>
                <c:ptCount val="1"/>
                <c:pt idx="0">
                  <c:v>Konzernbereich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10:$G$20</c:f>
              <c:numCache>
                <c:formatCode>#,##0.000</c:formatCode>
                <c:ptCount val="11"/>
                <c:pt idx="0">
                  <c:v>3.9503450960000006E-2</c:v>
                </c:pt>
                <c:pt idx="1">
                  <c:v>5.6085001286000004E-2</c:v>
                </c:pt>
                <c:pt idx="2">
                  <c:v>4.939953129E-2</c:v>
                </c:pt>
                <c:pt idx="3">
                  <c:v>3.3320021060000003E-2</c:v>
                </c:pt>
                <c:pt idx="4">
                  <c:v>2.878219374E-2</c:v>
                </c:pt>
                <c:pt idx="5">
                  <c:v>2.2944197750000003E-2</c:v>
                </c:pt>
                <c:pt idx="6">
                  <c:v>2.6484992200000002E-2</c:v>
                </c:pt>
                <c:pt idx="7">
                  <c:v>2.0499518179999999E-2</c:v>
                </c:pt>
                <c:pt idx="8">
                  <c:v>3.0299639320000002E-2</c:v>
                </c:pt>
                <c:pt idx="9">
                  <c:v>3.7238405299999999E-2</c:v>
                </c:pt>
                <c:pt idx="10">
                  <c:v>4.391700066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036</cdr:x>
      <cdr:y>0.073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99133"/>
          <a:ext cx="612916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/>
            <a:t>Mrd. CHF</a:t>
          </a:r>
          <a:endParaRPr lang="de-CH" sz="10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ilanzwirksame Anlagenzugäng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28017227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15608" y="6101349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ktivierbare, bilanzwirksame Zugänge von Sachanlagen und immateriellen </a:t>
            </a:r>
            <a:r>
              <a:rPr kumimoji="0" lang="de-CH" sz="1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lagen.</a:t>
            </a:r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26A1FC-C66A-44D7-9680-C1C5F311E4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Bilanzwirksame Anlagenzugäng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anzwirksame Anlagenzugänge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